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115" d="100"/>
          <a:sy n="115" d="100"/>
        </p:scale>
        <p:origin x="456" y="102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01.10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01.10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59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8" Type="http://schemas.openxmlformats.org/officeDocument/2006/relationships/image" Target="../media/image14.png"/><Relationship Id="rId57" Type="http://schemas.openxmlformats.org/officeDocument/2006/relationships/hyperlink" Target="https://pos.gosuslugi.ru/lkp/polls/preview/550862/?id=550862&amp;hash=69d08ee4e94792a124bdc47483e49b07&amp;expired_at=1759318436" TargetMode="External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595497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</a:t>
            </a:r>
            <a:r>
              <a:rPr lang="ru-RU" sz="1400" b="1" dirty="0" err="1">
                <a:solidFill>
                  <a:schemeClr val="tx1"/>
                </a:solidFill>
              </a:rPr>
              <a:t>Росреестре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V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0572" y="2939655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46344" y="2952364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1391" y="4583973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544017" y="456200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553006" y="4924391"/>
            <a:ext cx="5273365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 smtClean="0">
                <a:solidFill>
                  <a:srgbClr val="FF0000"/>
                </a:solidFill>
                <a:hlinkClick r:id="rId57"/>
              </a:rPr>
              <a:t>https://pos.gosuslugi.ru/lkp/polls/preview/550862/?id=550862&amp;hash=69d08ee4e94792a124bdc47483e49b07&amp;expired_at=1759318436</a:t>
            </a:r>
            <a:endParaRPr lang="ru-RU" sz="1200" dirty="0">
              <a:solidFill>
                <a:srgbClr val="FF0000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 </a:t>
            </a:r>
            <a:r>
              <a:rPr lang="en-US" sz="1400" dirty="0" smtClean="0">
                <a:solidFill>
                  <a:srgbClr val="39505E"/>
                </a:solidFill>
              </a:rPr>
              <a:t>I</a:t>
            </a:r>
            <a:r>
              <a:rPr lang="en-US" sz="1400" dirty="0">
                <a:solidFill>
                  <a:srgbClr val="39505E"/>
                </a:solidFill>
              </a:rPr>
              <a:t>V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334050" y="267478"/>
            <a:ext cx="5186146" cy="6500326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6434" y="2551160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работы с обращениями граждан в </a:t>
            </a:r>
            <a:r>
              <a:rPr lang="ru-RU" sz="1400" b="1" dirty="0" err="1">
                <a:solidFill>
                  <a:schemeClr val="tx1"/>
                </a:solidFill>
              </a:rPr>
              <a:t>Росреестре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в I</a:t>
            </a:r>
            <a:r>
              <a:rPr lang="en-US" sz="1400" b="1" dirty="0">
                <a:solidFill>
                  <a:schemeClr val="tx1"/>
                </a:solidFill>
              </a:rPr>
              <a:t>V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73896" y="2877916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809712" y="2877916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4825" y="4459626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00597" y="442668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259695" y="4853093"/>
            <a:ext cx="5260501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rgbClr val="FF0000"/>
                </a:solidFill>
                <a:hlinkClick r:id="rId57"/>
              </a:rPr>
              <a:t>https://pos.gosuslugi.ru/lkp/polls/preview/550862/?</a:t>
            </a:r>
            <a:r>
              <a:rPr lang="en-US" sz="1200" u="sng" dirty="0" smtClean="0">
                <a:solidFill>
                  <a:srgbClr val="FF0000"/>
                </a:solidFill>
                <a:hlinkClick r:id="rId57"/>
              </a:rPr>
              <a:t>id=550862&amp;hash=69d08ee4e94792a124bdc47483e49b07&amp;expired_at=1759318436</a:t>
            </a:r>
            <a:endParaRPr lang="ru-RU" sz="1200" u="sng" dirty="0" smtClean="0">
              <a:solidFill>
                <a:srgbClr val="FF0000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Общественное голосование на портале Госуслуг «Мой выбор, мое будущее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</a:t>
            </a:r>
            <a:r>
              <a:rPr lang="ru-RU" sz="1400" dirty="0" smtClean="0">
                <a:solidFill>
                  <a:srgbClr val="39505E"/>
                </a:solidFill>
              </a:rPr>
              <a:t/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dirty="0" smtClean="0">
                <a:solidFill>
                  <a:srgbClr val="39505E"/>
                </a:solidFill>
              </a:rPr>
              <a:t>с </a:t>
            </a:r>
            <a:r>
              <a:rPr lang="ru-RU" sz="1400" dirty="0">
                <a:solidFill>
                  <a:srgbClr val="39505E"/>
                </a:solidFill>
              </a:rPr>
              <a:t>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>
                <a:solidFill>
                  <a:srgbClr val="39505E"/>
                </a:solidFill>
              </a:rPr>
              <a:t>V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524" y="3260141"/>
            <a:ext cx="1247368" cy="124736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8302229" y="3205757"/>
            <a:ext cx="1249788" cy="1243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98</TotalTime>
  <Words>210</Words>
  <Application>Microsoft Office PowerPoint</Application>
  <PresentationFormat>Широкоэкранный</PresentationFormat>
  <Paragraphs>2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Башарина Дана Юрьевна</cp:lastModifiedBy>
  <cp:revision>1500</cp:revision>
  <cp:lastPrinted>2023-10-06T12:33:15Z</cp:lastPrinted>
  <dcterms:created xsi:type="dcterms:W3CDTF">2020-12-17T18:43:20Z</dcterms:created>
  <dcterms:modified xsi:type="dcterms:W3CDTF">2025-10-01T10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